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17"/>
  </p:notesMasterIdLst>
  <p:sldIdLst>
    <p:sldId id="256" r:id="rId6"/>
    <p:sldId id="261" r:id="rId7"/>
    <p:sldId id="835" r:id="rId8"/>
    <p:sldId id="828" r:id="rId9"/>
    <p:sldId id="827" r:id="rId10"/>
    <p:sldId id="829" r:id="rId11"/>
    <p:sldId id="830" r:id="rId12"/>
    <p:sldId id="831" r:id="rId13"/>
    <p:sldId id="833" r:id="rId14"/>
    <p:sldId id="832" r:id="rId15"/>
    <p:sldId id="834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59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B"/>
    <a:srgbClr val="00508A"/>
    <a:srgbClr val="004A83"/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83" autoAdjust="0"/>
    <p:restoredTop sz="96029" autoAdjust="0"/>
  </p:normalViewPr>
  <p:slideViewPr>
    <p:cSldViewPr snapToGrid="0">
      <p:cViewPr varScale="1">
        <p:scale>
          <a:sx n="101" d="100"/>
          <a:sy n="101" d="100"/>
        </p:scale>
        <p:origin x="408" y="65"/>
      </p:cViewPr>
      <p:guideLst>
        <p:guide orient="horz" pos="981"/>
        <p:guide pos="3840"/>
        <p:guide orient="horz" pos="2591"/>
      </p:guideLst>
    </p:cSldViewPr>
  </p:slideViewPr>
  <p:outlineViewPr>
    <p:cViewPr>
      <p:scale>
        <a:sx n="33" d="100"/>
        <a:sy n="33" d="100"/>
      </p:scale>
      <p:origin x="0" y="-3261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11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11.03.2025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83" imgH="384" progId="TCLayout.ActiveDocument.1">
                  <p:embed/>
                </p:oleObj>
              </mc:Choice>
              <mc:Fallback>
                <p:oleObj name="think-cell Folie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999" y="3582391"/>
            <a:ext cx="6779491" cy="1654772"/>
          </a:xfrm>
        </p:spPr>
        <p:txBody>
          <a:bodyPr>
            <a:normAutofit/>
          </a:bodyPr>
          <a:lstStyle/>
          <a:p>
            <a:r>
              <a:rPr lang="de-DE" dirty="0"/>
              <a:t>Bachelor‘s Thesis Defence</a:t>
            </a:r>
          </a:p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0F9272A-4F44-C60A-5706-628FC11705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000" y="4409777"/>
            <a:ext cx="8171873" cy="665469"/>
          </a:xfrm>
        </p:spPr>
        <p:txBody>
          <a:bodyPr/>
          <a:lstStyle/>
          <a:p>
            <a:r>
              <a:rPr lang="en-GB" dirty="0"/>
              <a:t>Leveraging Criticality in Reinforcement Learning for Effective Transfer Learning in Autonomous Driving</a:t>
            </a:r>
            <a:endParaRPr lang="de-DE" dirty="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9785926" y="5582262"/>
            <a:ext cx="2743201" cy="1655762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rgbClr val="00599C"/>
                </a:solidFill>
                <a:latin typeface="Arial" panose="020B0604020202020204"/>
              </a:rPr>
              <a:t>Examinee: Daniil Navodey</a:t>
            </a:r>
          </a:p>
          <a:p>
            <a:r>
              <a:rPr lang="de-DE" sz="1200" dirty="0">
                <a:solidFill>
                  <a:srgbClr val="00599C"/>
                </a:solidFill>
                <a:latin typeface="Arial" panose="020B0604020202020204"/>
              </a:rPr>
              <a:t>Examiner: Prof. Dr. Lenz Belzner</a:t>
            </a:r>
          </a:p>
          <a:p>
            <a:r>
              <a:rPr lang="de-DE" sz="1200" dirty="0">
                <a:solidFill>
                  <a:srgbClr val="00599C"/>
                </a:solidFill>
                <a:latin typeface="Arial" panose="020B0604020202020204"/>
              </a:rPr>
              <a:t>Guide: Chidvilas Karpenahalli Ramakrishna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>
                <a:solidFill>
                  <a:srgbClr val="005A96"/>
                </a:solidFill>
              </a:rPr>
              <a:t>26.02.2025</a:t>
            </a:r>
            <a:endParaRPr lang="de-DE" sz="300" dirty="0">
              <a:solidFill>
                <a:srgbClr val="005A96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BE2701-4E5A-EEFA-D07A-777E9D8E18C8}"/>
              </a:ext>
            </a:extLst>
          </p:cNvPr>
          <p:cNvSpPr txBox="1"/>
          <p:nvPr/>
        </p:nvSpPr>
        <p:spPr>
          <a:xfrm>
            <a:off x="791608" y="5412985"/>
            <a:ext cx="76783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Autonomous Vehicle Engineering</a:t>
            </a:r>
            <a:endParaRPr lang="en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F577C94-8BE2-98D9-51A5-222D6BF69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8039"/>
            <a:ext cx="10515600" cy="4856241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ui-sans-serif"/>
              </a:rPr>
              <a:t>Strengths </a:t>
            </a:r>
            <a:r>
              <a:rPr lang="en-GB" b="0" i="0" dirty="0">
                <a:effectLst/>
                <a:latin typeface="ui-sans-serif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ui-sans-serif"/>
              </a:rPr>
              <a:t>Reduces computational cost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ui-sans-serif"/>
              </a:rPr>
              <a:t>Maintains safety and performance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ui-sans-serif"/>
              </a:rPr>
              <a:t>Prospective improvements </a:t>
            </a:r>
            <a:r>
              <a:rPr lang="en-GB" b="0" i="0" dirty="0">
                <a:effectLst/>
                <a:latin typeface="ui-sans-serif"/>
              </a:rPr>
              <a:t>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ui-sans-serif"/>
              </a:rPr>
              <a:t>Stability issues in some experiment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GB" dirty="0">
                <a:latin typeface="ui-sans-serif"/>
              </a:rPr>
              <a:t>Ensuring the use of all critical states from in Replay Buffer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GB" b="0" i="0" dirty="0">
              <a:effectLst/>
              <a:latin typeface="ui-sans-serif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GB" dirty="0">
              <a:latin typeface="ui-sans-serif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GB" b="0" i="0" dirty="0">
              <a:effectLst/>
              <a:latin typeface="ui-sans-serif"/>
            </a:endParaRPr>
          </a:p>
          <a:p>
            <a:pPr marL="0" indent="0" algn="l">
              <a:buNone/>
            </a:pPr>
            <a:r>
              <a:rPr lang="en-GB" b="1" i="0" dirty="0">
                <a:effectLst/>
                <a:latin typeface="ui-sans-serif"/>
              </a:rPr>
              <a:t>Result:</a:t>
            </a:r>
            <a:endParaRPr lang="en-GB" sz="1800" b="1" i="0" dirty="0">
              <a:effectLst/>
              <a:latin typeface="ui-sans-serif"/>
            </a:endParaRPr>
          </a:p>
          <a:p>
            <a:r>
              <a:rPr lang="en-GB" sz="1800" b="0" i="0" dirty="0">
                <a:effectLst/>
                <a:latin typeface="ui-sans-serif"/>
              </a:rPr>
              <a:t>Criticality-based Transfer Learning is </a:t>
            </a:r>
            <a:r>
              <a:rPr lang="en-GB" sz="1800" dirty="0">
                <a:latin typeface="ui-sans-serif"/>
              </a:rPr>
              <a:t>applicable</a:t>
            </a:r>
            <a:r>
              <a:rPr lang="en-GB" sz="1800" b="0" i="0" dirty="0">
                <a:effectLst/>
                <a:latin typeface="ui-sans-serif"/>
              </a:rPr>
              <a:t> in autonomous driving.</a:t>
            </a:r>
          </a:p>
          <a:p>
            <a:r>
              <a:rPr lang="en-GB" sz="1800" b="0" i="0" dirty="0">
                <a:effectLst/>
                <a:latin typeface="ui-sans-serif"/>
              </a:rPr>
              <a:t>Balances efficiency and safety.</a:t>
            </a:r>
          </a:p>
          <a:p>
            <a:r>
              <a:rPr lang="en-GB" sz="1800" b="0" i="0" dirty="0">
                <a:effectLst/>
                <a:latin typeface="ui-sans-serif"/>
              </a:rPr>
              <a:t>Opens doors for optimized real-world RL applications.</a:t>
            </a:r>
          </a:p>
          <a:p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332C94-4ECF-3B4B-7379-75EAA8DCF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DF2C86-F620-20C2-6213-EBE3FC7CB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518932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59043-E735-46FC-9A6A-7251C4BAFD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42658" y="410586"/>
            <a:ext cx="7448550" cy="2387600"/>
          </a:xfrm>
        </p:spPr>
        <p:txBody>
          <a:bodyPr/>
          <a:lstStyle/>
          <a:p>
            <a:r>
              <a:rPr lang="en-GB" dirty="0"/>
              <a:t>Thank You!</a:t>
            </a:r>
            <a:endParaRPr lang="en-D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EB6D4A-F5F9-A6BA-12B8-1FCD75DBD3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5298" y="5161435"/>
            <a:ext cx="4525515" cy="1655762"/>
          </a:xfrm>
        </p:spPr>
        <p:txBody>
          <a:bodyPr>
            <a:normAutofit/>
          </a:bodyPr>
          <a:lstStyle/>
          <a:p>
            <a:r>
              <a:rPr lang="en-GB" sz="6000" dirty="0"/>
              <a:t>Q&amp;A</a:t>
            </a:r>
            <a:endParaRPr lang="en-DE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A27AC6-B4AD-B2BF-FACA-C1249D232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9" name="Picture 8" descr="A person driving a car&#10;&#10;AI-generated content may be incorrect.">
            <a:extLst>
              <a:ext uri="{FF2B5EF4-FFF2-40B4-BE49-F238E27FC236}">
                <a16:creationId xmlns:a16="http://schemas.microsoft.com/office/drawing/2014/main" id="{C4E28CB8-F274-1E1C-649B-8CEC086F67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2" y="0"/>
            <a:ext cx="5594350" cy="55943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17298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A9DE27-76E9-7207-9046-926D903884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07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53CAA9D-4281-A6AD-4EB9-0FA6835AD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8D49FD5-B1C1-2A18-C7C4-7B66D8E66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rodu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88FDCF-C4AF-5BE2-DDBD-202E181DF588}"/>
              </a:ext>
            </a:extLst>
          </p:cNvPr>
          <p:cNvSpPr txBox="1"/>
          <p:nvPr/>
        </p:nvSpPr>
        <p:spPr>
          <a:xfrm>
            <a:off x="1433945" y="1940167"/>
            <a:ext cx="41875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/>
              <a:t>Challenge</a:t>
            </a:r>
          </a:p>
          <a:p>
            <a:pPr algn="ctr"/>
            <a:r>
              <a:rPr lang="en-GB" sz="1600" dirty="0"/>
              <a:t>Reinforcement Learning requires massive data/computing for effective decision-making in complex environments.</a:t>
            </a:r>
          </a:p>
          <a:p>
            <a:pPr algn="ctr"/>
            <a:endParaRPr lang="en-GB" sz="2800" b="1" dirty="0"/>
          </a:p>
          <a:p>
            <a:pPr algn="ctr"/>
            <a:endParaRPr lang="en-GB" sz="2800" b="1" dirty="0"/>
          </a:p>
          <a:p>
            <a:pPr algn="ctr"/>
            <a:endParaRPr lang="en-GB" sz="2800" b="1" dirty="0"/>
          </a:p>
          <a:p>
            <a:pPr algn="ctr"/>
            <a:r>
              <a:rPr lang="en-GB" sz="2800" b="1" dirty="0"/>
              <a:t>Limitation of Traditional Transfer Learning</a:t>
            </a:r>
          </a:p>
          <a:p>
            <a:pPr algn="ctr"/>
            <a:r>
              <a:rPr lang="en-GB" sz="1600" dirty="0"/>
              <a:t>Random data sampling in Transfer Learning is inefficient. It is more time- and computational power-consuming.</a:t>
            </a:r>
            <a:endParaRPr lang="en-GB" sz="1100" dirty="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F5303DC4-CC6B-666B-59BA-590E6E1E81BA}"/>
              </a:ext>
            </a:extLst>
          </p:cNvPr>
          <p:cNvSpPr/>
          <p:nvPr/>
        </p:nvSpPr>
        <p:spPr>
          <a:xfrm>
            <a:off x="5621481" y="3382241"/>
            <a:ext cx="1937905" cy="966354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B6CCD7F-9B7C-E614-9D78-330F5EE1B6FC}"/>
              </a:ext>
            </a:extLst>
          </p:cNvPr>
          <p:cNvSpPr/>
          <p:nvPr/>
        </p:nvSpPr>
        <p:spPr>
          <a:xfrm>
            <a:off x="5611956" y="3622902"/>
            <a:ext cx="1202254" cy="485032"/>
          </a:xfrm>
          <a:custGeom>
            <a:avLst/>
            <a:gdLst>
              <a:gd name="connsiteX0" fmla="*/ 0 w 1937905"/>
              <a:gd name="connsiteY0" fmla="*/ 241589 h 966354"/>
              <a:gd name="connsiteX1" fmla="*/ 1454728 w 1937905"/>
              <a:gd name="connsiteY1" fmla="*/ 241589 h 966354"/>
              <a:gd name="connsiteX2" fmla="*/ 1454728 w 1937905"/>
              <a:gd name="connsiteY2" fmla="*/ 0 h 966354"/>
              <a:gd name="connsiteX3" fmla="*/ 1937905 w 1937905"/>
              <a:gd name="connsiteY3" fmla="*/ 483177 h 966354"/>
              <a:gd name="connsiteX4" fmla="*/ 1454728 w 1937905"/>
              <a:gd name="connsiteY4" fmla="*/ 966354 h 966354"/>
              <a:gd name="connsiteX5" fmla="*/ 1454728 w 1937905"/>
              <a:gd name="connsiteY5" fmla="*/ 724766 h 966354"/>
              <a:gd name="connsiteX6" fmla="*/ 0 w 1937905"/>
              <a:gd name="connsiteY6" fmla="*/ 724766 h 966354"/>
              <a:gd name="connsiteX7" fmla="*/ 0 w 1937905"/>
              <a:gd name="connsiteY7" fmla="*/ 241589 h 966354"/>
              <a:gd name="connsiteX0" fmla="*/ 0 w 1937905"/>
              <a:gd name="connsiteY0" fmla="*/ 241589 h 966354"/>
              <a:gd name="connsiteX1" fmla="*/ 1184564 w 1937905"/>
              <a:gd name="connsiteY1" fmla="*/ 251980 h 966354"/>
              <a:gd name="connsiteX2" fmla="*/ 1454728 w 1937905"/>
              <a:gd name="connsiteY2" fmla="*/ 0 h 966354"/>
              <a:gd name="connsiteX3" fmla="*/ 1937905 w 1937905"/>
              <a:gd name="connsiteY3" fmla="*/ 483177 h 966354"/>
              <a:gd name="connsiteX4" fmla="*/ 1454728 w 1937905"/>
              <a:gd name="connsiteY4" fmla="*/ 966354 h 966354"/>
              <a:gd name="connsiteX5" fmla="*/ 1454728 w 1937905"/>
              <a:gd name="connsiteY5" fmla="*/ 724766 h 966354"/>
              <a:gd name="connsiteX6" fmla="*/ 0 w 1937905"/>
              <a:gd name="connsiteY6" fmla="*/ 724766 h 966354"/>
              <a:gd name="connsiteX7" fmla="*/ 0 w 1937905"/>
              <a:gd name="connsiteY7" fmla="*/ 241589 h 966354"/>
              <a:gd name="connsiteX0" fmla="*/ 0 w 1937905"/>
              <a:gd name="connsiteY0" fmla="*/ 241589 h 966354"/>
              <a:gd name="connsiteX1" fmla="*/ 1184564 w 1937905"/>
              <a:gd name="connsiteY1" fmla="*/ 251980 h 966354"/>
              <a:gd name="connsiteX2" fmla="*/ 1454728 w 1937905"/>
              <a:gd name="connsiteY2" fmla="*/ 0 h 966354"/>
              <a:gd name="connsiteX3" fmla="*/ 1937905 w 1937905"/>
              <a:gd name="connsiteY3" fmla="*/ 483177 h 966354"/>
              <a:gd name="connsiteX4" fmla="*/ 1454728 w 1937905"/>
              <a:gd name="connsiteY4" fmla="*/ 966354 h 966354"/>
              <a:gd name="connsiteX5" fmla="*/ 1072368 w 1937905"/>
              <a:gd name="connsiteY5" fmla="*/ 723405 h 966354"/>
              <a:gd name="connsiteX6" fmla="*/ 0 w 1937905"/>
              <a:gd name="connsiteY6" fmla="*/ 724766 h 966354"/>
              <a:gd name="connsiteX7" fmla="*/ 0 w 1937905"/>
              <a:gd name="connsiteY7" fmla="*/ 241589 h 966354"/>
              <a:gd name="connsiteX0" fmla="*/ 0 w 1937905"/>
              <a:gd name="connsiteY0" fmla="*/ 241589 h 724766"/>
              <a:gd name="connsiteX1" fmla="*/ 1184564 w 1937905"/>
              <a:gd name="connsiteY1" fmla="*/ 251980 h 724766"/>
              <a:gd name="connsiteX2" fmla="*/ 1454728 w 1937905"/>
              <a:gd name="connsiteY2" fmla="*/ 0 h 724766"/>
              <a:gd name="connsiteX3" fmla="*/ 1937905 w 1937905"/>
              <a:gd name="connsiteY3" fmla="*/ 483177 h 724766"/>
              <a:gd name="connsiteX4" fmla="*/ 1072368 w 1937905"/>
              <a:gd name="connsiteY4" fmla="*/ 722786 h 724766"/>
              <a:gd name="connsiteX5" fmla="*/ 1072368 w 1937905"/>
              <a:gd name="connsiteY5" fmla="*/ 723405 h 724766"/>
              <a:gd name="connsiteX6" fmla="*/ 0 w 1937905"/>
              <a:gd name="connsiteY6" fmla="*/ 724766 h 724766"/>
              <a:gd name="connsiteX7" fmla="*/ 0 w 1937905"/>
              <a:gd name="connsiteY7" fmla="*/ 241589 h 724766"/>
              <a:gd name="connsiteX0" fmla="*/ 0 w 1454728"/>
              <a:gd name="connsiteY0" fmla="*/ 241589 h 724766"/>
              <a:gd name="connsiteX1" fmla="*/ 1184564 w 1454728"/>
              <a:gd name="connsiteY1" fmla="*/ 251980 h 724766"/>
              <a:gd name="connsiteX2" fmla="*/ 1454728 w 1454728"/>
              <a:gd name="connsiteY2" fmla="*/ 0 h 724766"/>
              <a:gd name="connsiteX3" fmla="*/ 1072491 w 1454728"/>
              <a:gd name="connsiteY3" fmla="*/ 721302 h 724766"/>
              <a:gd name="connsiteX4" fmla="*/ 1072368 w 1454728"/>
              <a:gd name="connsiteY4" fmla="*/ 722786 h 724766"/>
              <a:gd name="connsiteX5" fmla="*/ 1072368 w 1454728"/>
              <a:gd name="connsiteY5" fmla="*/ 723405 h 724766"/>
              <a:gd name="connsiteX6" fmla="*/ 0 w 1454728"/>
              <a:gd name="connsiteY6" fmla="*/ 724766 h 724766"/>
              <a:gd name="connsiteX7" fmla="*/ 0 w 1454728"/>
              <a:gd name="connsiteY7" fmla="*/ 241589 h 724766"/>
              <a:gd name="connsiteX0" fmla="*/ 0 w 1184564"/>
              <a:gd name="connsiteY0" fmla="*/ 0 h 483177"/>
              <a:gd name="connsiteX1" fmla="*/ 1184564 w 1184564"/>
              <a:gd name="connsiteY1" fmla="*/ 10391 h 483177"/>
              <a:gd name="connsiteX2" fmla="*/ 1072367 w 1184564"/>
              <a:gd name="connsiteY2" fmla="*/ 479590 h 483177"/>
              <a:gd name="connsiteX3" fmla="*/ 1072491 w 1184564"/>
              <a:gd name="connsiteY3" fmla="*/ 479713 h 483177"/>
              <a:gd name="connsiteX4" fmla="*/ 1072368 w 1184564"/>
              <a:gd name="connsiteY4" fmla="*/ 481197 h 483177"/>
              <a:gd name="connsiteX5" fmla="*/ 1072368 w 1184564"/>
              <a:gd name="connsiteY5" fmla="*/ 481816 h 483177"/>
              <a:gd name="connsiteX6" fmla="*/ 0 w 1184564"/>
              <a:gd name="connsiteY6" fmla="*/ 483177 h 483177"/>
              <a:gd name="connsiteX7" fmla="*/ 0 w 1184564"/>
              <a:gd name="connsiteY7" fmla="*/ 0 h 483177"/>
              <a:gd name="connsiteX0" fmla="*/ 0 w 1202254"/>
              <a:gd name="connsiteY0" fmla="*/ 1855 h 485032"/>
              <a:gd name="connsiteX1" fmla="*/ 1202254 w 1202254"/>
              <a:gd name="connsiteY1" fmla="*/ 0 h 485032"/>
              <a:gd name="connsiteX2" fmla="*/ 1072367 w 1202254"/>
              <a:gd name="connsiteY2" fmla="*/ 481445 h 485032"/>
              <a:gd name="connsiteX3" fmla="*/ 1072491 w 1202254"/>
              <a:gd name="connsiteY3" fmla="*/ 481568 h 485032"/>
              <a:gd name="connsiteX4" fmla="*/ 1072368 w 1202254"/>
              <a:gd name="connsiteY4" fmla="*/ 483052 h 485032"/>
              <a:gd name="connsiteX5" fmla="*/ 1072368 w 1202254"/>
              <a:gd name="connsiteY5" fmla="*/ 483671 h 485032"/>
              <a:gd name="connsiteX6" fmla="*/ 0 w 1202254"/>
              <a:gd name="connsiteY6" fmla="*/ 485032 h 485032"/>
              <a:gd name="connsiteX7" fmla="*/ 0 w 1202254"/>
              <a:gd name="connsiteY7" fmla="*/ 1855 h 485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2254" h="485032">
                <a:moveTo>
                  <a:pt x="0" y="1855"/>
                </a:moveTo>
                <a:lnTo>
                  <a:pt x="1202254" y="0"/>
                </a:lnTo>
                <a:lnTo>
                  <a:pt x="1072367" y="481445"/>
                </a:lnTo>
                <a:lnTo>
                  <a:pt x="1072491" y="481568"/>
                </a:lnTo>
                <a:lnTo>
                  <a:pt x="1072368" y="483052"/>
                </a:lnTo>
                <a:lnTo>
                  <a:pt x="1072368" y="483671"/>
                </a:lnTo>
                <a:lnTo>
                  <a:pt x="0" y="485032"/>
                </a:lnTo>
                <a:lnTo>
                  <a:pt x="0" y="1855"/>
                </a:lnTo>
                <a:close/>
              </a:path>
            </a:pathLst>
          </a:custGeom>
          <a:solidFill>
            <a:srgbClr val="005A9B"/>
          </a:solidFill>
          <a:ln>
            <a:solidFill>
              <a:srgbClr val="005A9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8C6973-6E08-0FB5-F256-5C117A387D0F}"/>
              </a:ext>
            </a:extLst>
          </p:cNvPr>
          <p:cNvSpPr txBox="1"/>
          <p:nvPr/>
        </p:nvSpPr>
        <p:spPr>
          <a:xfrm>
            <a:off x="7897090" y="2930235"/>
            <a:ext cx="357966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</a:rPr>
              <a:t>Proposed Solution</a:t>
            </a:r>
            <a:r>
              <a:rPr lang="en-GB" sz="2800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Focus the learning process on critical states (safety-critical scenarios) to optimize Transfer Learning.</a:t>
            </a:r>
            <a:endParaRPr lang="en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412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0AA5D6-F7BA-3486-39D7-CE7A79DA1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ed Work</a:t>
            </a:r>
            <a:endParaRPr lang="en-DE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AF91223-9292-9E1D-FF80-8EF110D90D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051" y="1340978"/>
            <a:ext cx="11496675" cy="5142949"/>
          </a:xfrm>
        </p:spPr>
        <p:txBody>
          <a:bodyPr>
            <a:normAutofit lnSpcReduction="10000"/>
          </a:bodyPr>
          <a:lstStyle/>
          <a:p>
            <a:r>
              <a:rPr lang="en-GB" b="1" dirty="0"/>
              <a:t>Prioritized Experience Replay (PER): </a:t>
            </a:r>
          </a:p>
          <a:p>
            <a:pPr marL="457200" lvl="1" indent="0">
              <a:buNone/>
            </a:pPr>
            <a:r>
              <a:rPr lang="en-GB" dirty="0"/>
              <a:t>Gives the higher priority to samples with a higher learning potential based on high Temporal-Difference error. Focuses on error-driven sampling.</a:t>
            </a:r>
          </a:p>
          <a:p>
            <a:r>
              <a:rPr lang="en-GB" b="1" dirty="0"/>
              <a:t>Threshold/Peak Variance Methods to Rate Criticality of the State: </a:t>
            </a:r>
          </a:p>
          <a:p>
            <a:pPr marL="457200" lvl="1" indent="0">
              <a:buNone/>
            </a:pPr>
            <a:r>
              <a:rPr lang="en-GB" dirty="0"/>
              <a:t>Identify critical states via Q-value variance or entropy</a:t>
            </a:r>
          </a:p>
          <a:p>
            <a:r>
              <a:rPr lang="en-GB" b="1" dirty="0"/>
              <a:t>Criticality-Based Advice:</a:t>
            </a:r>
          </a:p>
          <a:p>
            <a:pPr marL="457200" lvl="1" indent="0">
              <a:buNone/>
            </a:pPr>
            <a:r>
              <a:rPr lang="en-GB" dirty="0"/>
              <a:t>Uses critical states to guide exploration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/>
              <a:t>Literature Gap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TSTAR" panose="020B0604020202020204"/>
              </a:rPr>
              <a:t>Traditional Transfer Learning uses </a:t>
            </a:r>
            <a:r>
              <a:rPr lang="en-GB" b="1" i="0" dirty="0">
                <a:effectLst/>
                <a:latin typeface="TSTAR" panose="020B0604020202020204"/>
              </a:rPr>
              <a:t>random data sampling </a:t>
            </a:r>
            <a:r>
              <a:rPr lang="en-GB" b="0" i="0" dirty="0">
                <a:effectLst/>
                <a:latin typeface="TSTAR" panose="020B0604020202020204"/>
              </a:rPr>
              <a:t>, leading to inefficienc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  <a:latin typeface="TSTAR" panose="020B0604020202020204"/>
              </a:rPr>
              <a:t>Existing criticality research focuses on exploration, not Transfer Learning optimiz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TSTAR" panose="020B0604020202020204"/>
              </a:rPr>
              <a:t>This Work</a:t>
            </a:r>
            <a:r>
              <a:rPr lang="en-GB" b="0" i="0" dirty="0">
                <a:effectLst/>
                <a:latin typeface="TSTAR" panose="020B0604020202020204"/>
              </a:rPr>
              <a:t>: First to utilise </a:t>
            </a:r>
            <a:r>
              <a:rPr lang="en-GB" b="1" i="0" dirty="0">
                <a:effectLst/>
                <a:latin typeface="TSTAR" panose="020B0604020202020204"/>
              </a:rPr>
              <a:t>critical states in Transfer </a:t>
            </a:r>
            <a:r>
              <a:rPr lang="en-GB" b="1" dirty="0">
                <a:latin typeface="TSTAR" panose="020B0604020202020204"/>
              </a:rPr>
              <a:t>Learning </a:t>
            </a:r>
            <a:r>
              <a:rPr lang="en-GB" b="1" i="0" dirty="0">
                <a:effectLst/>
                <a:latin typeface="TSTAR" panose="020B0604020202020204"/>
              </a:rPr>
              <a:t>Replay </a:t>
            </a:r>
            <a:r>
              <a:rPr lang="en-GB" b="1" dirty="0">
                <a:latin typeface="TSTAR" panose="020B0604020202020204"/>
              </a:rPr>
              <a:t>B</a:t>
            </a:r>
            <a:r>
              <a:rPr lang="en-GB" b="1" i="0" dirty="0">
                <a:effectLst/>
                <a:latin typeface="TSTAR" panose="020B0604020202020204"/>
              </a:rPr>
              <a:t>uffer </a:t>
            </a:r>
            <a:r>
              <a:rPr lang="en-GB" b="0" i="0" dirty="0">
                <a:effectLst/>
                <a:latin typeface="TSTAR" panose="020B0604020202020204"/>
              </a:rPr>
              <a:t>for autonomous driving environment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/>
              <a:t>Can critical states replace random data in Transfer Learning?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/>
              <a:t>Does this approach reduce training time?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/>
              <a:t>Does this approach maintain safety and efficiency?</a:t>
            </a:r>
            <a:endParaRPr lang="en-GB" b="0" i="0" dirty="0">
              <a:effectLst/>
              <a:latin typeface="TSTAR" panose="020B0604020202020204"/>
            </a:endParaRPr>
          </a:p>
          <a:p>
            <a:pPr marL="0" indent="0">
              <a:buNone/>
            </a:pP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59CC4E-4D3E-BB40-93A4-028779EBE6D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627813"/>
            <a:ext cx="255588" cy="207962"/>
          </a:xfrm>
        </p:spPr>
        <p:txBody>
          <a:bodyPr/>
          <a:lstStyle/>
          <a:p>
            <a:pPr>
              <a:defRPr/>
            </a:pPr>
            <a:fld id="{FBA07125-F287-674A-B4D8-FED3251FDE20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680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48A2DF4-7B52-BBBB-68DD-CF743CF82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b="1" dirty="0"/>
              <a:t>Environments: 	</a:t>
            </a:r>
            <a:r>
              <a:rPr lang="en-GB" sz="2400" dirty="0"/>
              <a:t>	     Highway-Env   	    → 	        Merge-Env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r>
              <a:rPr lang="en-GB" sz="2400" b="1" dirty="0"/>
              <a:t>Reinforcement Learning Algorithm: </a:t>
            </a:r>
            <a:r>
              <a:rPr lang="en-GB" sz="2400" dirty="0"/>
              <a:t>Deep Q-Network(DQN) with Stable-Baselines3.</a:t>
            </a:r>
            <a:endParaRPr lang="en-GB" sz="2400" b="1" dirty="0"/>
          </a:p>
          <a:p>
            <a:r>
              <a:rPr lang="en-GB" sz="2400" b="1" dirty="0"/>
              <a:t>Criticality Definition: </a:t>
            </a:r>
            <a:r>
              <a:rPr lang="en-GB" sz="2400" dirty="0"/>
              <a:t>States where local peaks of variance of actions Q-values is observed.</a:t>
            </a:r>
          </a:p>
          <a:p>
            <a:pPr marL="457200" lvl="1" indent="0">
              <a:buNone/>
            </a:pPr>
            <a:endParaRPr lang="en-GB" sz="2000" dirty="0"/>
          </a:p>
          <a:p>
            <a:endParaRPr lang="en-GB" sz="2400" b="1" dirty="0"/>
          </a:p>
          <a:p>
            <a:r>
              <a:rPr lang="en-GB" sz="2400" b="1" dirty="0"/>
              <a:t>Replay Buffer: </a:t>
            </a:r>
            <a:r>
              <a:rPr lang="en-GB" sz="2400" dirty="0"/>
              <a:t>Pre-filled with critical states for Transfer Learning.</a:t>
            </a:r>
            <a:endParaRPr lang="en-D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0D0443-0F2F-7BF4-2CD0-6A70D8C742A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4925"/>
            <a:ext cx="2579688" cy="3952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11" name="Picture 10" descr="A grey road with white lines&#10;&#10;AI-generated content may be incorrect.">
            <a:extLst>
              <a:ext uri="{FF2B5EF4-FFF2-40B4-BE49-F238E27FC236}">
                <a16:creationId xmlns:a16="http://schemas.microsoft.com/office/drawing/2014/main" id="{7C9D63B8-D4DA-C494-E599-D759A539A7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083" y="2225133"/>
            <a:ext cx="3133467" cy="586343"/>
          </a:xfrm>
          <a:prstGeom prst="rect">
            <a:avLst/>
          </a:prstGeom>
        </p:spPr>
      </p:pic>
      <p:pic>
        <p:nvPicPr>
          <p:cNvPr id="15" name="Picture 14" descr="A road with blue squares and white lines&#10;&#10;AI-generated content may be incorrect.">
            <a:extLst>
              <a:ext uri="{FF2B5EF4-FFF2-40B4-BE49-F238E27FC236}">
                <a16:creationId xmlns:a16="http://schemas.microsoft.com/office/drawing/2014/main" id="{C0347A6F-DD34-E7C1-8696-DBD475C407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13"/>
          <a:stretch/>
        </p:blipFill>
        <p:spPr>
          <a:xfrm>
            <a:off x="7610518" y="2225133"/>
            <a:ext cx="2699728" cy="5863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445DD91-4178-38FB-BB3E-05D8416902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1034" y="4046525"/>
            <a:ext cx="4653206" cy="891331"/>
          </a:xfrm>
          <a:prstGeom prst="rect">
            <a:avLst/>
          </a:prstGeom>
        </p:spPr>
      </p:pic>
      <p:sp>
        <p:nvSpPr>
          <p:cNvPr id="22" name="Title 3">
            <a:extLst>
              <a:ext uri="{FF2B5EF4-FFF2-40B4-BE49-F238E27FC236}">
                <a16:creationId xmlns:a16="http://schemas.microsoft.com/office/drawing/2014/main" id="{64DE207A-2D44-950D-C807-7F8742F5D6AC}"/>
              </a:ext>
            </a:extLst>
          </p:cNvPr>
          <p:cNvSpPr txBox="1">
            <a:spLocks/>
          </p:cNvSpPr>
          <p:nvPr/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rgbClr val="00599C"/>
                </a:solidFill>
                <a:latin typeface="TSTAR" panose="020B060402020202020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ethodology</a:t>
            </a:r>
            <a:endParaRPr kumimoji="0" lang="en-DE" sz="36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j-ea"/>
              <a:cs typeface="+mj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D7CD14B-2175-D23F-B6EE-239BFED1F8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747" y="283342"/>
            <a:ext cx="2234490" cy="1167919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9722BF1-DD19-C680-498F-8361D1C24073}"/>
              </a:ext>
            </a:extLst>
          </p:cNvPr>
          <p:cNvSpPr/>
          <p:nvPr/>
        </p:nvSpPr>
        <p:spPr>
          <a:xfrm>
            <a:off x="9694718" y="6177395"/>
            <a:ext cx="2234490" cy="488373"/>
          </a:xfrm>
          <a:prstGeom prst="rect">
            <a:avLst/>
          </a:prstGeom>
          <a:gradFill>
            <a:gsLst>
              <a:gs pos="0">
                <a:srgbClr val="004A83"/>
              </a:gs>
              <a:gs pos="100000">
                <a:srgbClr val="00508A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965103-36FB-931E-E3D1-EBEC2A4E5D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0202" y="3940395"/>
            <a:ext cx="1826354" cy="136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36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3A66CC69-BDA5-D82C-085B-21092E8F0A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58" y="68263"/>
            <a:ext cx="9920997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6477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38144E-FF49-C981-6D27-0EBDD2E1F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6C2F3A-D88A-9499-B14B-F133B8C23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ining Steps Reduction</a:t>
            </a:r>
            <a:endParaRPr lang="en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FF69E3-5087-E8FD-378D-93A1D4ABC603}"/>
              </a:ext>
            </a:extLst>
          </p:cNvPr>
          <p:cNvSpPr txBox="1"/>
          <p:nvPr/>
        </p:nvSpPr>
        <p:spPr>
          <a:xfrm>
            <a:off x="7193763" y="3481114"/>
            <a:ext cx="49807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Criticality approach in Transfer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Number of training steps = 829-2598 (avg. 115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e-filled Replay Buffer with critical sta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B5FF29-8A3C-7CD7-6B66-DEA24A92F185}"/>
              </a:ext>
            </a:extLst>
          </p:cNvPr>
          <p:cNvSpPr txBox="1"/>
          <p:nvPr/>
        </p:nvSpPr>
        <p:spPr>
          <a:xfrm>
            <a:off x="7777387" y="1688912"/>
            <a:ext cx="38134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Traditional Transfer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Number of training steps = 10.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Empty Replay Buffer -&gt; filling with random samples</a:t>
            </a:r>
          </a:p>
          <a:p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A0C188-61CC-107A-A133-E4CF3E9AEA5D}"/>
              </a:ext>
            </a:extLst>
          </p:cNvPr>
          <p:cNvSpPr txBox="1"/>
          <p:nvPr/>
        </p:nvSpPr>
        <p:spPr>
          <a:xfrm>
            <a:off x="6703785" y="5114560"/>
            <a:ext cx="51175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Average training step number reduction: </a:t>
            </a:r>
            <a:r>
              <a:rPr lang="en-GB" sz="2400" dirty="0">
                <a:solidFill>
                  <a:schemeClr val="bg1"/>
                </a:solidFill>
              </a:rPr>
              <a:t>6.4 times</a:t>
            </a:r>
            <a:endParaRPr lang="en-DE" sz="2400" dirty="0">
              <a:solidFill>
                <a:schemeClr val="bg1"/>
              </a:solidFill>
            </a:endParaRPr>
          </a:p>
        </p:txBody>
      </p:sp>
      <p:sp>
        <p:nvSpPr>
          <p:cNvPr id="12" name="Content Placeholder 12">
            <a:extLst>
              <a:ext uri="{FF2B5EF4-FFF2-40B4-BE49-F238E27FC236}">
                <a16:creationId xmlns:a16="http://schemas.microsoft.com/office/drawing/2014/main" id="{95B1654B-DE12-07F0-3E31-6B88C61996A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/>
          <a:lstStyle/>
          <a:p>
            <a:r>
              <a:rPr lang="en-GB" dirty="0"/>
              <a:t>Performance Results</a:t>
            </a:r>
            <a:endParaRPr lang="en-DE" dirty="0"/>
          </a:p>
        </p:txBody>
      </p:sp>
      <p:pic>
        <p:nvPicPr>
          <p:cNvPr id="16" name="Content Placeholder 15" descr="A graph with green and orange bars&#10;&#10;AI-generated content may be incorrect.">
            <a:extLst>
              <a:ext uri="{FF2B5EF4-FFF2-40B4-BE49-F238E27FC236}">
                <a16:creationId xmlns:a16="http://schemas.microsoft.com/office/drawing/2014/main" id="{3DDE2A98-FB90-9436-7FAC-4DE93AE2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9" t="7236" r="3888" b="3462"/>
          <a:stretch/>
        </p:blipFill>
        <p:spPr>
          <a:xfrm>
            <a:off x="601150" y="1374039"/>
            <a:ext cx="6064618" cy="3535370"/>
          </a:xfr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BF1A5F4A-DBE8-7473-D1AA-5B9BEA3C6E73}"/>
              </a:ext>
            </a:extLst>
          </p:cNvPr>
          <p:cNvSpPr/>
          <p:nvPr/>
        </p:nvSpPr>
        <p:spPr>
          <a:xfrm>
            <a:off x="6473371" y="4094843"/>
            <a:ext cx="460829" cy="863599"/>
          </a:xfrm>
          <a:prstGeom prst="triangle">
            <a:avLst/>
          </a:prstGeom>
          <a:solidFill>
            <a:srgbClr val="005A9B"/>
          </a:solidFill>
          <a:ln>
            <a:solidFill>
              <a:srgbClr val="005A9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014902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96DA77-D3F5-8EAE-5168-28E7C1AAAA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61B8A0E-651F-DEE7-1183-A8F98256C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llision Rate</a:t>
            </a:r>
            <a:endParaRPr lang="en-DE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E01811D3-5597-36A4-6D77-00BB5E0DA0D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Performance Results</a:t>
            </a:r>
            <a:endParaRPr lang="en-DE" dirty="0"/>
          </a:p>
        </p:txBody>
      </p:sp>
      <p:pic>
        <p:nvPicPr>
          <p:cNvPr id="10" name="Picture 9" descr="A graph of a graph&#10;&#10;AI-generated content may be incorrect.">
            <a:extLst>
              <a:ext uri="{FF2B5EF4-FFF2-40B4-BE49-F238E27FC236}">
                <a16:creationId xmlns:a16="http://schemas.microsoft.com/office/drawing/2014/main" id="{9FF99820-BDA3-3E24-1FB8-8DB4FF72D9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3" t="7228" r="9061" b="3001"/>
          <a:stretch/>
        </p:blipFill>
        <p:spPr>
          <a:xfrm>
            <a:off x="4190770" y="1568219"/>
            <a:ext cx="7835984" cy="501406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C9A510F-F3B6-D50B-59C9-68BF91340DC7}"/>
              </a:ext>
            </a:extLst>
          </p:cNvPr>
          <p:cNvSpPr txBox="1"/>
          <p:nvPr/>
        </p:nvSpPr>
        <p:spPr>
          <a:xfrm>
            <a:off x="395620" y="2782588"/>
            <a:ext cx="379515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General tendency: </a:t>
            </a:r>
            <a:r>
              <a:rPr lang="en-GB" dirty="0"/>
              <a:t>in average, collision rate is higher than in traditional Transfer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utperforming in Experiments 3 and 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igher range of values – lower stability</a:t>
            </a:r>
          </a:p>
        </p:txBody>
      </p:sp>
    </p:spTree>
    <p:extLst>
      <p:ext uri="{BB962C8B-B14F-4D97-AF65-F5344CB8AC3E}">
        <p14:creationId xmlns:p14="http://schemas.microsoft.com/office/powerpoint/2010/main" val="4263329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098ADF-FE09-5CD6-BC6D-89A31B1DB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D9B76C-A1D2-D0C5-7966-7FF25927F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wards</a:t>
            </a:r>
            <a:endParaRPr lang="en-DE" dirty="0"/>
          </a:p>
        </p:txBody>
      </p:sp>
      <p:pic>
        <p:nvPicPr>
          <p:cNvPr id="8" name="Content Placeholder 7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10F2A6D5-D0C5-6A1E-8408-886B5DC8B4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96" y="1545246"/>
            <a:ext cx="9335653" cy="46678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2573E55-EEFB-5CA2-AD27-AB58130CF6E0}"/>
              </a:ext>
            </a:extLst>
          </p:cNvPr>
          <p:cNvSpPr txBox="1"/>
          <p:nvPr/>
        </p:nvSpPr>
        <p:spPr>
          <a:xfrm>
            <a:off x="9823450" y="1720840"/>
            <a:ext cx="22987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mparable reward valu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Higher range of values – lower stab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ioritisation of safety-related rewards over high-speed reward</a:t>
            </a:r>
          </a:p>
          <a:p>
            <a:pPr marL="342900" indent="-342900">
              <a:buFont typeface="+mj-lt"/>
              <a:buAutoNum type="arabicPeriod"/>
            </a:pPr>
            <a:endParaRPr lang="en-DE" dirty="0"/>
          </a:p>
        </p:txBody>
      </p:sp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B6A5EAF8-DDF9-3C34-D78F-8C60CCD8436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472167"/>
            <a:ext cx="10134600" cy="504825"/>
          </a:xfrm>
        </p:spPr>
        <p:txBody>
          <a:bodyPr/>
          <a:lstStyle/>
          <a:p>
            <a:r>
              <a:rPr lang="en-GB" dirty="0"/>
              <a:t>Performance Result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57431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46C9319A-E87E-11BD-BACD-90132D53A1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82" y="1842015"/>
            <a:ext cx="5250873" cy="4351338"/>
          </a:xfrm>
        </p:spPr>
        <p:txBody>
          <a:bodyPr>
            <a:normAutofit/>
          </a:bodyPr>
          <a:lstStyle/>
          <a:p>
            <a:r>
              <a:rPr lang="en-GB" dirty="0"/>
              <a:t>Optimise the Replay Buffer sampling</a:t>
            </a:r>
          </a:p>
          <a:p>
            <a:endParaRPr lang="en-GB" dirty="0"/>
          </a:p>
          <a:p>
            <a:r>
              <a:rPr lang="en-GB" dirty="0"/>
              <a:t>Explore dynamic criticality sampling.</a:t>
            </a:r>
          </a:p>
          <a:p>
            <a:endParaRPr lang="en-GB" dirty="0"/>
          </a:p>
          <a:p>
            <a:r>
              <a:rPr lang="en-GB" dirty="0"/>
              <a:t>Test in more complex environments.</a:t>
            </a:r>
          </a:p>
          <a:p>
            <a:endParaRPr lang="en-GB" dirty="0"/>
          </a:p>
          <a:p>
            <a:r>
              <a:rPr lang="en-GB" dirty="0"/>
              <a:t>Combine with other Reinforcement Learning algorithms (SAC, PPO).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95509C-8752-0FBC-6C99-5EE28A658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5620" y="6384281"/>
            <a:ext cx="2579280" cy="396000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6A98D2-F111-3502-E175-ED4726F7D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460" y="664647"/>
            <a:ext cx="10132340" cy="709391"/>
          </a:xfrm>
        </p:spPr>
        <p:txBody>
          <a:bodyPr anchor="ctr">
            <a:normAutofit/>
          </a:bodyPr>
          <a:lstStyle/>
          <a:p>
            <a:r>
              <a:rPr lang="en-GB" dirty="0"/>
              <a:t>Future Work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31274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30</TotalTime>
  <Words>481</Words>
  <Application>Microsoft Office PowerPoint</Application>
  <PresentationFormat>Widescreen</PresentationFormat>
  <Paragraphs>98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kzidenz-Grotesk Next Regular</vt:lpstr>
      <vt:lpstr>Arial</vt:lpstr>
      <vt:lpstr>Calibri</vt:lpstr>
      <vt:lpstr>TSTAR</vt:lpstr>
      <vt:lpstr>ui-sans-serif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PowerPoint Presentation</vt:lpstr>
      <vt:lpstr>Introduction</vt:lpstr>
      <vt:lpstr>Related Work</vt:lpstr>
      <vt:lpstr>PowerPoint Presentation</vt:lpstr>
      <vt:lpstr>PowerPoint Presentation</vt:lpstr>
      <vt:lpstr>Training Steps Reduction</vt:lpstr>
      <vt:lpstr>Collision Rate</vt:lpstr>
      <vt:lpstr>Rewards</vt:lpstr>
      <vt:lpstr>Future Work</vt:lpstr>
      <vt:lpstr>Conclusion</vt:lpstr>
      <vt:lpstr>Thank You!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Navodey, Daniil (Stud. E - AVE)</cp:lastModifiedBy>
  <cp:revision>214</cp:revision>
  <dcterms:created xsi:type="dcterms:W3CDTF">2024-01-11T16:28:37Z</dcterms:created>
  <dcterms:modified xsi:type="dcterms:W3CDTF">2025-03-11T16:58:13Z</dcterms:modified>
</cp:coreProperties>
</file>